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5"/>
  </p:notesMasterIdLst>
  <p:handoutMasterIdLst>
    <p:handoutMasterId r:id="rId16"/>
  </p:handoutMasterIdLst>
  <p:sldIdLst>
    <p:sldId id="407" r:id="rId6"/>
    <p:sldId id="396" r:id="rId7"/>
    <p:sldId id="389" r:id="rId8"/>
    <p:sldId id="393" r:id="rId9"/>
    <p:sldId id="373" r:id="rId10"/>
    <p:sldId id="409" r:id="rId11"/>
    <p:sldId id="387" r:id="rId12"/>
    <p:sldId id="388" r:id="rId13"/>
    <p:sldId id="408" r:id="rId14"/>
  </p:sldIdLst>
  <p:sldSz cx="12192000" cy="6858000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88D"/>
    <a:srgbClr val="FFD88B"/>
    <a:srgbClr val="EE832A"/>
    <a:srgbClr val="FFB219"/>
    <a:srgbClr val="FFB400"/>
    <a:srgbClr val="FFDC95"/>
    <a:srgbClr val="DBE2ED"/>
    <a:srgbClr val="BAC5D0"/>
    <a:srgbClr val="D2D9E0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88" autoAdjust="0"/>
    <p:restoredTop sz="94434" autoAdjust="0"/>
  </p:normalViewPr>
  <p:slideViewPr>
    <p:cSldViewPr>
      <p:cViewPr>
        <p:scale>
          <a:sx n="75" d="100"/>
          <a:sy n="75" d="100"/>
        </p:scale>
        <p:origin x="636" y="30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7\09.%20Settembre\Elaborati%20finali\Secondi%20di%20Avvisi%20NEW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7\09.%20Settembre\Elaborati%20finali\Trend%20Fatturato%20Totale%20per%20tabelle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7\09.%20Settembre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36076507269972E-2"/>
          <c:y val="2.8643842219793204E-2"/>
          <c:w val="0.97712784698546007"/>
          <c:h val="0.73627899471390923"/>
        </c:manualLayout>
      </c:layout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0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2:$N$2,grafico!$O$2:$P$2)</c:f>
              <c:numCache>
                <c:formatCode>0.0%</c:formatCode>
                <c:ptCount val="15"/>
                <c:pt idx="0">
                  <c:v>2.655515633948368E-3</c:v>
                </c:pt>
                <c:pt idx="1">
                  <c:v>3.0572313574723279E-3</c:v>
                </c:pt>
                <c:pt idx="2">
                  <c:v>1.1534352322552038E-2</c:v>
                </c:pt>
                <c:pt idx="3">
                  <c:v>1.5323977453264555E-2</c:v>
                </c:pt>
                <c:pt idx="4">
                  <c:v>9.3351284251486991E-3</c:v>
                </c:pt>
                <c:pt idx="5">
                  <c:v>2.0698334536912728E-2</c:v>
                </c:pt>
                <c:pt idx="6">
                  <c:v>1.2676586362808773E-2</c:v>
                </c:pt>
                <c:pt idx="7">
                  <c:v>9.0053126612927824E-3</c:v>
                </c:pt>
                <c:pt idx="8">
                  <c:v>5.0426728941196357E-3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3">
                  <c:v>9.0283382012716039E-3</c:v>
                </c:pt>
                <c:pt idx="14">
                  <c:v>1.0403253873220115E-2</c:v>
                </c:pt>
              </c:numCache>
            </c:numRef>
          </c:val>
        </c:ser>
        <c:ser>
          <c:idx val="1"/>
          <c:order val="1"/>
          <c:tx>
            <c:v>15" - Nazionale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3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5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4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9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7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5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16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14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3:$N$3,grafico!$O$3:$P$3)</c:f>
              <c:numCache>
                <c:formatCode>0.0%</c:formatCode>
                <c:ptCount val="15"/>
                <c:pt idx="0">
                  <c:v>0.1221737155142902</c:v>
                </c:pt>
                <c:pt idx="1">
                  <c:v>0.13715906979200199</c:v>
                </c:pt>
                <c:pt idx="2">
                  <c:v>0.12153504105953931</c:v>
                </c:pt>
                <c:pt idx="3">
                  <c:v>0.13759632638559216</c:v>
                </c:pt>
                <c:pt idx="4">
                  <c:v>0.15558588061825696</c:v>
                </c:pt>
                <c:pt idx="5">
                  <c:v>0.1438923596133683</c:v>
                </c:pt>
                <c:pt idx="6">
                  <c:v>0.19560644010981226</c:v>
                </c:pt>
                <c:pt idx="7">
                  <c:v>0.17697456609322965</c:v>
                </c:pt>
                <c:pt idx="8">
                  <c:v>0.154624205460541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3">
                  <c:v>0.16074214080501012</c:v>
                </c:pt>
                <c:pt idx="14">
                  <c:v>0.14881227549594517</c:v>
                </c:pt>
              </c:numCache>
            </c:numRef>
          </c:val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1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5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4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2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4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2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12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13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4:$N$4,grafico!$O$4:$P$4)</c:f>
              <c:numCache>
                <c:formatCode>0.0%</c:formatCode>
                <c:ptCount val="15"/>
                <c:pt idx="0">
                  <c:v>0.12235368268827766</c:v>
                </c:pt>
                <c:pt idx="1">
                  <c:v>0.11600013133367656</c:v>
                </c:pt>
                <c:pt idx="2">
                  <c:v>0.13300592712251949</c:v>
                </c:pt>
                <c:pt idx="3">
                  <c:v>0.15055263785591705</c:v>
                </c:pt>
                <c:pt idx="4">
                  <c:v>0.14768739525749111</c:v>
                </c:pt>
                <c:pt idx="5">
                  <c:v>0.12859182287619395</c:v>
                </c:pt>
                <c:pt idx="6">
                  <c:v>0.14118295599103847</c:v>
                </c:pt>
                <c:pt idx="7">
                  <c:v>0.12718509889718541</c:v>
                </c:pt>
                <c:pt idx="8">
                  <c:v>0.1228189777551024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3">
                  <c:v>0.12432536463301089</c:v>
                </c:pt>
                <c:pt idx="14">
                  <c:v>0.13320775262906412</c:v>
                </c:pt>
              </c:numCache>
            </c:numRef>
          </c:val>
        </c:ser>
        <c:ser>
          <c:idx val="3"/>
          <c:order val="3"/>
          <c:tx>
            <c:v>25" e 30" - Nazionale</c:v>
          </c:tx>
          <c:spPr>
            <a:solidFill>
              <a:schemeClr val="accent5">
                <a:lumMod val="2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3,6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3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6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66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68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6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66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70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68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68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5:$N$5,grafico!$O$5:$P$5)</c:f>
              <c:numCache>
                <c:formatCode>0.0%</c:formatCode>
                <c:ptCount val="15"/>
                <c:pt idx="0">
                  <c:v>0.73613532891600575</c:v>
                </c:pt>
                <c:pt idx="1">
                  <c:v>0.72961983977968436</c:v>
                </c:pt>
                <c:pt idx="2">
                  <c:v>0.71043248698372474</c:v>
                </c:pt>
                <c:pt idx="3">
                  <c:v>0.66197645205733491</c:v>
                </c:pt>
                <c:pt idx="4">
                  <c:v>0.66582315253438729</c:v>
                </c:pt>
                <c:pt idx="5">
                  <c:v>0.68194997094715504</c:v>
                </c:pt>
                <c:pt idx="6">
                  <c:v>0.63547893764978824</c:v>
                </c:pt>
                <c:pt idx="7">
                  <c:v>0.66782325330617132</c:v>
                </c:pt>
                <c:pt idx="8">
                  <c:v>0.69965793574565149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3">
                  <c:v>0.68034045835615431</c:v>
                </c:pt>
                <c:pt idx="14">
                  <c:v>0.68650075080323292</c:v>
                </c:pt>
              </c:numCache>
            </c:numRef>
          </c:val>
        </c:ser>
        <c:ser>
          <c:idx val="4"/>
          <c:order val="4"/>
          <c:tx>
            <c:v>&gt; 30" - Nazionale</c:v>
          </c:tx>
          <c:spPr>
            <a:solidFill>
              <a:srgbClr val="FFB4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2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6:$N$6,grafico!$O$6:$P$6)</c:f>
              <c:numCache>
                <c:formatCode>0.0%</c:formatCode>
                <c:ptCount val="15"/>
                <c:pt idx="0">
                  <c:v>1.6681757247478061E-2</c:v>
                </c:pt>
                <c:pt idx="1">
                  <c:v>1.4163727737164756E-2</c:v>
                </c:pt>
                <c:pt idx="2">
                  <c:v>2.3492192511664414E-2</c:v>
                </c:pt>
                <c:pt idx="3">
                  <c:v>3.4550606247891344E-2</c:v>
                </c:pt>
                <c:pt idx="4">
                  <c:v>2.1568443164715949E-2</c:v>
                </c:pt>
                <c:pt idx="5">
                  <c:v>2.4867512026369967E-2</c:v>
                </c:pt>
                <c:pt idx="6">
                  <c:v>1.5055079886552275E-2</c:v>
                </c:pt>
                <c:pt idx="7">
                  <c:v>1.9011769042120881E-2</c:v>
                </c:pt>
                <c:pt idx="8">
                  <c:v>1.7856208144585214E-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3">
                  <c:v>2.5563698004553083E-2</c:v>
                </c:pt>
                <c:pt idx="14">
                  <c:v>2.1075967198537673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23971160"/>
        <c:axId val="223972728"/>
      </c:barChart>
      <c:catAx>
        <c:axId val="2239711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23972728"/>
        <c:crosses val="autoZero"/>
        <c:auto val="1"/>
        <c:lblAlgn val="ctr"/>
        <c:lblOffset val="100"/>
        <c:noMultiLvlLbl val="0"/>
      </c:catAx>
      <c:valAx>
        <c:axId val="22397272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23971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549523041115522"/>
          <c:y val="0.9393898759088064"/>
          <c:w val="0.64900953917768966"/>
          <c:h val="5.0194181465814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5529784"/>
        <c:axId val="225530176"/>
      </c:lineChart>
      <c:catAx>
        <c:axId val="225529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225530176"/>
        <c:crosses val="autoZero"/>
        <c:auto val="1"/>
        <c:lblAlgn val="ctr"/>
        <c:lblOffset val="100"/>
        <c:noMultiLvlLbl val="0"/>
      </c:catAx>
      <c:valAx>
        <c:axId val="225530176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22552978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9638110436766E-2"/>
          <c:y val="4.6229990007103747E-2"/>
          <c:w val="0.92395959226026991"/>
          <c:h val="0.83630005197497459"/>
        </c:manualLayout>
      </c:layout>
      <c:lineChart>
        <c:grouping val="standard"/>
        <c:varyColors val="0"/>
        <c:ser>
          <c:idx val="0"/>
          <c:order val="0"/>
          <c:spPr>
            <a:ln>
              <a:solidFill>
                <a:srgbClr val="002060"/>
              </a:solidFill>
            </a:ln>
          </c:spPr>
          <c:marker>
            <c:symbol val="none"/>
          </c:marker>
          <c:trendline>
            <c:spPr>
              <a:ln w="38100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B$2:$B$130</c:f>
              <c:strCache>
                <c:ptCount val="129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</c:strCache>
            </c:strRef>
          </c:cat>
          <c:val>
            <c:numRef>
              <c:f>mensile!$C$2:$C$130</c:f>
              <c:numCache>
                <c:formatCode>#,##0</c:formatCode>
                <c:ptCount val="129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34</c:v>
                </c:pt>
                <c:pt idx="109">
                  <c:v>25684</c:v>
                </c:pt>
                <c:pt idx="110">
                  <c:v>29780</c:v>
                </c:pt>
                <c:pt idx="111">
                  <c:v>26671</c:v>
                </c:pt>
                <c:pt idx="112">
                  <c:v>31810</c:v>
                </c:pt>
                <c:pt idx="113">
                  <c:v>30617</c:v>
                </c:pt>
                <c:pt idx="114">
                  <c:v>30419</c:v>
                </c:pt>
                <c:pt idx="115">
                  <c:v>12086</c:v>
                </c:pt>
                <c:pt idx="116">
                  <c:v>25565</c:v>
                </c:pt>
                <c:pt idx="117">
                  <c:v>32296</c:v>
                </c:pt>
                <c:pt idx="118">
                  <c:v>34072</c:v>
                </c:pt>
                <c:pt idx="119">
                  <c:v>28783</c:v>
                </c:pt>
                <c:pt idx="120">
                  <c:v>19986</c:v>
                </c:pt>
                <c:pt idx="121">
                  <c:v>24825</c:v>
                </c:pt>
                <c:pt idx="122">
                  <c:v>29755</c:v>
                </c:pt>
                <c:pt idx="123">
                  <c:v>27509</c:v>
                </c:pt>
                <c:pt idx="124">
                  <c:v>36475</c:v>
                </c:pt>
                <c:pt idx="125">
                  <c:v>33335</c:v>
                </c:pt>
                <c:pt idx="126">
                  <c:v>28882</c:v>
                </c:pt>
                <c:pt idx="127">
                  <c:v>12053</c:v>
                </c:pt>
                <c:pt idx="128">
                  <c:v>285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25530960"/>
        <c:axId val="225531352"/>
      </c:lineChart>
      <c:catAx>
        <c:axId val="225530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900" baseline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25531352"/>
        <c:crosses val="autoZero"/>
        <c:auto val="1"/>
        <c:lblAlgn val="ctr"/>
        <c:lblOffset val="100"/>
        <c:noMultiLvlLbl val="0"/>
      </c:catAx>
      <c:valAx>
        <c:axId val="225531352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1100" u="none" baseline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2553096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88627749302371E-2"/>
          <c:y val="2.9463074065136013E-2"/>
          <c:w val="0.92294778905461894"/>
          <c:h val="0.78844227567974845"/>
        </c:manualLayout>
      </c:layout>
      <c:lineChart>
        <c:grouping val="standard"/>
        <c:varyColors val="0"/>
        <c:ser>
          <c:idx val="1"/>
          <c:order val="0"/>
          <c:tx>
            <c:strRef>
              <c:f>mensile!$B$13:$B$130</c:f>
              <c:strCache>
                <c:ptCount val="118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</c:strCache>
            </c:strRef>
          </c:tx>
          <c:spPr>
            <a:ln w="38100">
              <a:solidFill>
                <a:srgbClr val="002060"/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38100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B$13:$B$130</c:f>
              <c:strCache>
                <c:ptCount val="118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</c:strCache>
            </c:strRef>
          </c:cat>
          <c:val>
            <c:numRef>
              <c:f>mensile!$D$13:$D$130</c:f>
              <c:numCache>
                <c:formatCode>#,##0</c:formatCode>
                <c:ptCount val="118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75</c:v>
                </c:pt>
                <c:pt idx="98">
                  <c:v>26698.25</c:v>
                </c:pt>
                <c:pt idx="99">
                  <c:v>26737.666666666668</c:v>
                </c:pt>
                <c:pt idx="100">
                  <c:v>26819.5</c:v>
                </c:pt>
                <c:pt idx="101">
                  <c:v>26852.333333333332</c:v>
                </c:pt>
                <c:pt idx="102">
                  <c:v>26726.666666666668</c:v>
                </c:pt>
                <c:pt idx="103">
                  <c:v>26793.666666666668</c:v>
                </c:pt>
                <c:pt idx="104">
                  <c:v>26859.916666666668</c:v>
                </c:pt>
                <c:pt idx="105">
                  <c:v>26757.166666666668</c:v>
                </c:pt>
                <c:pt idx="106">
                  <c:v>26679.416666666668</c:v>
                </c:pt>
                <c:pt idx="107">
                  <c:v>26937.75</c:v>
                </c:pt>
                <c:pt idx="108">
                  <c:v>27251.416666666668</c:v>
                </c:pt>
                <c:pt idx="109">
                  <c:v>27314.083333333332</c:v>
                </c:pt>
                <c:pt idx="110">
                  <c:v>27242.5</c:v>
                </c:pt>
                <c:pt idx="111">
                  <c:v>27240.416666666668</c:v>
                </c:pt>
                <c:pt idx="112">
                  <c:v>27310.25</c:v>
                </c:pt>
                <c:pt idx="113">
                  <c:v>27699</c:v>
                </c:pt>
                <c:pt idx="114">
                  <c:v>27925.5</c:v>
                </c:pt>
                <c:pt idx="115">
                  <c:v>27797.416666666668</c:v>
                </c:pt>
                <c:pt idx="116">
                  <c:v>27794.666666666668</c:v>
                </c:pt>
                <c:pt idx="117">
                  <c:v>28044.9166666666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5415544"/>
        <c:axId val="225415936"/>
      </c:lineChart>
      <c:catAx>
        <c:axId val="2254155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25415936"/>
        <c:crosses val="autoZero"/>
        <c:auto val="0"/>
        <c:lblAlgn val="ctr"/>
        <c:lblOffset val="100"/>
        <c:noMultiLvlLbl val="0"/>
      </c:catAx>
      <c:valAx>
        <c:axId val="225415936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100" baseline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2541554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4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4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4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4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2950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6" y="4714875"/>
            <a:ext cx="543877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8287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Settembre 2017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, 26 ottobre 2017</a:t>
            </a:r>
            <a:endParaRPr lang="it-IT" sz="20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0871949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– Settembre</a:t>
                      </a:r>
                      <a:r>
                        <a:rPr lang="it-IT" sz="1800" b="0" i="0" baseline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 </a:t>
                      </a:r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2017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DS SPECIAL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DS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Nuova da Gennaio 2017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8100923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– Settembre</a:t>
                      </a:r>
                      <a:r>
                        <a:rPr lang="it-IT" sz="1800" b="0" i="0" baseline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 </a:t>
                      </a:r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2017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ARCUS 2015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ARCUS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Chiusa</a:t>
                      </a:r>
                      <a:r>
                        <a:rPr lang="it-IT" sz="1800" b="0" i="0" baseline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 da Dicembre 2016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e 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9393121"/>
              </p:ext>
            </p:extLst>
          </p:nvPr>
        </p:nvGraphicFramePr>
        <p:xfrm>
          <a:off x="841283" y="1028969"/>
          <a:ext cx="10509435" cy="4776295"/>
        </p:xfrm>
        <a:graphic>
          <a:graphicData uri="http://schemas.openxmlformats.org/drawingml/2006/table">
            <a:tbl>
              <a:tblPr/>
              <a:tblGrid>
                <a:gridCol w="1036003"/>
                <a:gridCol w="1036003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976717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4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4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4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r>
                        <a:rPr lang="it-IT" sz="1400" b="1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4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8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3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8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1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2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7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.4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.7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.3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.9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8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.4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.4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.9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.1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3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17.60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74.3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54.3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ipologie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</a:t>
            </a:r>
            <a:r>
              <a:rPr lang="it-IT" altLang="it-IT" sz="18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)</a:t>
            </a:r>
            <a:endParaRPr lang="it-IT" altLang="it-IT" sz="18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705085"/>
              </p:ext>
            </p:extLst>
          </p:nvPr>
        </p:nvGraphicFramePr>
        <p:xfrm>
          <a:off x="839416" y="980728"/>
          <a:ext cx="10581443" cy="4791535"/>
        </p:xfrm>
        <a:graphic>
          <a:graphicData uri="http://schemas.openxmlformats.org/drawingml/2006/table">
            <a:tbl>
              <a:tblPr/>
              <a:tblGrid>
                <a:gridCol w="1036003"/>
                <a:gridCol w="1036003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1048725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i="0" u="none" strike="noStrike" kern="120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4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4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it-IT" sz="14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t 2017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8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9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8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.7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.68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4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9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.28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7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Avvisi Nazional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740464"/>
              </p:ext>
            </p:extLst>
          </p:nvPr>
        </p:nvGraphicFramePr>
        <p:xfrm>
          <a:off x="254352" y="1135326"/>
          <a:ext cx="11683297" cy="4525922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27510"/>
                <a:gridCol w="846385"/>
                <a:gridCol w="809799"/>
                <a:gridCol w="792088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3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1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29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9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7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54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01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1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3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4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7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7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9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2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6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2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7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7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8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0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9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5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9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21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8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6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2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8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Set. 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54.3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3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4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7.1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.0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5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1.4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909803"/>
              </p:ext>
            </p:extLst>
          </p:nvPr>
        </p:nvGraphicFramePr>
        <p:xfrm>
          <a:off x="104268" y="996232"/>
          <a:ext cx="12023999" cy="489600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771546"/>
                <a:gridCol w="809286"/>
                <a:gridCol w="796361"/>
                <a:gridCol w="841671"/>
                <a:gridCol w="751051"/>
                <a:gridCol w="796361"/>
                <a:gridCol w="868757"/>
                <a:gridCol w="796361"/>
                <a:gridCol w="796361"/>
                <a:gridCol w="796361"/>
                <a:gridCol w="878821"/>
                <a:gridCol w="874473"/>
                <a:gridCol w="437238"/>
                <a:gridCol w="905625"/>
                <a:gridCol w="903726"/>
              </a:tblGrid>
              <a:tr h="420911"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6</a:t>
                      </a:r>
                      <a:endParaRPr lang="it-IT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it-IT" sz="11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7</a:t>
                      </a:r>
                      <a:endParaRPr lang="it-IT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8247"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500.456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954.30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513.678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014.361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096.355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717.922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366.83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06.163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171.334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.953.835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.937.413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Grafic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923809"/>
              </p:ext>
            </p:extLst>
          </p:nvPr>
        </p:nvGraphicFramePr>
        <p:xfrm>
          <a:off x="-10118" y="1864229"/>
          <a:ext cx="12215728" cy="4877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50700771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Graphic spid="6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Gennaio 2007 – Settembr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623392" y="1124744"/>
            <a:ext cx="10945216" cy="5464622"/>
            <a:chOff x="623392" y="1124744"/>
            <a:chExt cx="10945216" cy="5464622"/>
          </a:xfrm>
        </p:grpSpPr>
        <p:sp>
          <p:nvSpPr>
            <p:cNvPr id="34" name="Rettangolo 33"/>
            <p:cNvSpPr/>
            <p:nvPr/>
          </p:nvSpPr>
          <p:spPr bwMode="auto">
            <a:xfrm>
              <a:off x="7059218" y="1468053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3302686" y="1471394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418796" y="1474036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5177830" y="1471396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1424231" y="1125294"/>
              <a:ext cx="936656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ttangolo 49"/>
            <p:cNvSpPr/>
            <p:nvPr/>
          </p:nvSpPr>
          <p:spPr bwMode="auto">
            <a:xfrm>
              <a:off x="8936593" y="1470864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graphicFrame>
          <p:nvGraphicFramePr>
            <p:cNvPr id="53" name="Grafico 5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15297615"/>
                </p:ext>
              </p:extLst>
            </p:nvPr>
          </p:nvGraphicFramePr>
          <p:xfrm>
            <a:off x="769036" y="1467507"/>
            <a:ext cx="10799572" cy="48139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4" name="Rettangolo 53"/>
            <p:cNvSpPr/>
            <p:nvPr/>
          </p:nvSpPr>
          <p:spPr bwMode="auto">
            <a:xfrm>
              <a:off x="10816080" y="1469356"/>
              <a:ext cx="604800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2395427" y="1126960"/>
              <a:ext cx="872556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3305652" y="1127779"/>
              <a:ext cx="936656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5188130" y="1127779"/>
              <a:ext cx="930899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4276894" y="1126626"/>
              <a:ext cx="872556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6154929" y="1124744"/>
              <a:ext cx="882749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</a:p>
          </p:txBody>
        </p:sp>
        <p:sp>
          <p:nvSpPr>
            <p:cNvPr id="40" name="CasellaDiTesto 39"/>
            <p:cNvSpPr txBox="1"/>
            <p:nvPr/>
          </p:nvSpPr>
          <p:spPr>
            <a:xfrm>
              <a:off x="7067335" y="1127919"/>
              <a:ext cx="930899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CasellaDiTesto 40"/>
            <p:cNvSpPr txBox="1"/>
            <p:nvPr/>
          </p:nvSpPr>
          <p:spPr>
            <a:xfrm>
              <a:off x="8022582" y="1126672"/>
              <a:ext cx="902812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8946582" y="1128417"/>
              <a:ext cx="930899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CasellaDiTesto 56"/>
            <p:cNvSpPr txBox="1"/>
            <p:nvPr/>
          </p:nvSpPr>
          <p:spPr>
            <a:xfrm>
              <a:off x="9908880" y="1128085"/>
              <a:ext cx="902812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58" name="CasellaDiTesto 57"/>
            <p:cNvSpPr txBox="1"/>
            <p:nvPr/>
          </p:nvSpPr>
          <p:spPr>
            <a:xfrm>
              <a:off x="10831803" y="1124943"/>
              <a:ext cx="59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5" name="Grafico 2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583333053"/>
                </p:ext>
              </p:extLst>
            </p:nvPr>
          </p:nvGraphicFramePr>
          <p:xfrm>
            <a:off x="623392" y="1217550"/>
            <a:ext cx="10918248" cy="53718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Settembr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659396" y="1124744"/>
            <a:ext cx="10873208" cy="5442391"/>
            <a:chOff x="1011503" y="1285454"/>
            <a:chExt cx="10168995" cy="5082351"/>
          </a:xfrm>
        </p:grpSpPr>
        <p:sp>
          <p:nvSpPr>
            <p:cNvPr id="28" name="Rettangolo 27"/>
            <p:cNvSpPr/>
            <p:nvPr/>
          </p:nvSpPr>
          <p:spPr bwMode="auto">
            <a:xfrm>
              <a:off x="7402392" y="1691297"/>
              <a:ext cx="1015200" cy="3798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9334895" y="1693900"/>
              <a:ext cx="1015200" cy="3798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685732" y="1690612"/>
              <a:ext cx="1015200" cy="3798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3601983" y="1693301"/>
              <a:ext cx="1015200" cy="3798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9" name="Rettangolo 38"/>
            <p:cNvSpPr/>
            <p:nvPr/>
          </p:nvSpPr>
          <p:spPr bwMode="auto">
            <a:xfrm>
              <a:off x="5496185" y="1699664"/>
              <a:ext cx="1015200" cy="3798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1708510" y="1289152"/>
              <a:ext cx="1015200" cy="259788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CasellaDiTesto 21"/>
            <p:cNvSpPr txBox="1"/>
            <p:nvPr/>
          </p:nvSpPr>
          <p:spPr>
            <a:xfrm>
              <a:off x="2776715" y="1290735"/>
              <a:ext cx="792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3614493" y="1291513"/>
              <a:ext cx="1015200" cy="259788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5496023" y="1291513"/>
              <a:ext cx="1015200" cy="259788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CasellaDiTesto 25"/>
            <p:cNvSpPr txBox="1"/>
            <p:nvPr/>
          </p:nvSpPr>
          <p:spPr>
            <a:xfrm>
              <a:off x="4676388" y="1290417"/>
              <a:ext cx="792000" cy="25920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</a:p>
          </p:txBody>
        </p:sp>
        <p:sp>
          <p:nvSpPr>
            <p:cNvPr id="27" name="CasellaDiTesto 26"/>
            <p:cNvSpPr txBox="1"/>
            <p:nvPr/>
          </p:nvSpPr>
          <p:spPr>
            <a:xfrm>
              <a:off x="6579332" y="1288629"/>
              <a:ext cx="792000" cy="26280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7404290" y="1291646"/>
              <a:ext cx="1015200" cy="259788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CasellaDiTesto 42"/>
            <p:cNvSpPr txBox="1"/>
            <p:nvPr/>
          </p:nvSpPr>
          <p:spPr>
            <a:xfrm>
              <a:off x="8496285" y="1290461"/>
              <a:ext cx="792000" cy="26280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44" name="CasellaDiTesto 43"/>
            <p:cNvSpPr txBox="1"/>
            <p:nvPr/>
          </p:nvSpPr>
          <p:spPr>
            <a:xfrm>
              <a:off x="9344345" y="1292119"/>
              <a:ext cx="1015200" cy="259788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CasellaDiTesto 44"/>
            <p:cNvSpPr txBox="1"/>
            <p:nvPr/>
          </p:nvSpPr>
          <p:spPr>
            <a:xfrm>
              <a:off x="10425430" y="1285454"/>
              <a:ext cx="576000" cy="26280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</a:p>
          </p:txBody>
        </p:sp>
        <p:graphicFrame>
          <p:nvGraphicFramePr>
            <p:cNvPr id="29" name="Grafico 28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993795547"/>
                </p:ext>
              </p:extLst>
            </p:nvPr>
          </p:nvGraphicFramePr>
          <p:xfrm>
            <a:off x="1011503" y="1545870"/>
            <a:ext cx="10168995" cy="48219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1927</TotalTime>
  <Words>773</Words>
  <Application>Microsoft Office PowerPoint</Application>
  <PresentationFormat>Widescreen</PresentationFormat>
  <Paragraphs>603</Paragraphs>
  <Slides>9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9" baseType="lpstr">
      <vt:lpstr>Arial</vt:lpstr>
      <vt:lpstr>Arial Black</vt:lpstr>
      <vt:lpstr>Verdana</vt:lpstr>
      <vt:lpstr>Wingdings</vt:lpstr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Sacchi Matteo</cp:lastModifiedBy>
  <cp:revision>1904</cp:revision>
  <cp:lastPrinted>2017-10-18T10:57:12Z</cp:lastPrinted>
  <dcterms:created xsi:type="dcterms:W3CDTF">2006-03-29T09:09:15Z</dcterms:created>
  <dcterms:modified xsi:type="dcterms:W3CDTF">2017-10-19T11:06:48Z</dcterms:modified>
</cp:coreProperties>
</file>